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7"/>
  </p:notesMasterIdLst>
  <p:handoutMasterIdLst>
    <p:handoutMasterId r:id="rId38"/>
  </p:handoutMasterIdLst>
  <p:sldIdLst>
    <p:sldId id="1229" r:id="rId2"/>
    <p:sldId id="1360" r:id="rId3"/>
    <p:sldId id="1361" r:id="rId4"/>
    <p:sldId id="1364" r:id="rId5"/>
    <p:sldId id="1362" r:id="rId6"/>
    <p:sldId id="1369" r:id="rId7"/>
    <p:sldId id="1363" r:id="rId8"/>
    <p:sldId id="1365" r:id="rId9"/>
    <p:sldId id="1373" r:id="rId10"/>
    <p:sldId id="1374" r:id="rId11"/>
    <p:sldId id="1367" r:id="rId12"/>
    <p:sldId id="1376" r:id="rId13"/>
    <p:sldId id="1377" r:id="rId14"/>
    <p:sldId id="1375" r:id="rId15"/>
    <p:sldId id="1368" r:id="rId16"/>
    <p:sldId id="1366" r:id="rId17"/>
    <p:sldId id="1380" r:id="rId18"/>
    <p:sldId id="1381" r:id="rId19"/>
    <p:sldId id="1385" r:id="rId20"/>
    <p:sldId id="1386" r:id="rId21"/>
    <p:sldId id="1383" r:id="rId22"/>
    <p:sldId id="334" r:id="rId23"/>
    <p:sldId id="335" r:id="rId24"/>
    <p:sldId id="293" r:id="rId25"/>
    <p:sldId id="294" r:id="rId26"/>
    <p:sldId id="295" r:id="rId27"/>
    <p:sldId id="296" r:id="rId28"/>
    <p:sldId id="285" r:id="rId29"/>
    <p:sldId id="288" r:id="rId30"/>
    <p:sldId id="1378" r:id="rId31"/>
    <p:sldId id="1379" r:id="rId32"/>
    <p:sldId id="1355" r:id="rId33"/>
    <p:sldId id="1356" r:id="rId34"/>
    <p:sldId id="1359" r:id="rId35"/>
    <p:sldId id="1387" r:id="rId36"/>
  </p:sldIdLst>
  <p:sldSz cx="9906000" cy="6858000" type="A4"/>
  <p:notesSz cx="6794500" cy="9931400"/>
  <p:custShowLst>
    <p:custShow name="Custom Show 1" id="0">
      <p:sldLst/>
    </p:custShow>
  </p:custShowLst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26" autoAdjust="0"/>
    <p:restoredTop sz="95252" autoAdjust="0"/>
  </p:normalViewPr>
  <p:slideViewPr>
    <p:cSldViewPr>
      <p:cViewPr varScale="1">
        <p:scale>
          <a:sx n="109" d="100"/>
          <a:sy n="109" d="100"/>
        </p:scale>
        <p:origin x="1728" y="7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6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6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51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586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597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8400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718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674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3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9/06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717032"/>
            <a:ext cx="9073009" cy="289310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/>
            <a:r>
              <a:rPr lang="en-US" sz="2600" b="1" dirty="0">
                <a:solidFill>
                  <a:srgbClr val="FF0000"/>
                </a:solidFill>
              </a:rPr>
              <a:t>The Italian Social Security Policy Response to Population Ageing</a:t>
            </a:r>
          </a:p>
          <a:p>
            <a:pPr algn="ctr"/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ichele </a:t>
            </a:r>
            <a:r>
              <a:rPr lang="en-GB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Raitano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(</a:t>
            </a:r>
            <a:r>
              <a:rPr lang="en-GB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apienza</a:t>
            </a: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University of Rome)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</a:t>
            </a:r>
            <a:r>
              <a:rPr lang="en-US" altLang="zh-CN" sz="1400" dirty="0">
                <a:latin typeface="Arial" panose="020B0604020202020204" pitchFamily="34" charset="0"/>
              </a:rPr>
              <a:t>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</a:rPr>
              <a:t>”</a:t>
            </a:r>
            <a:endParaRPr lang="zh-CN" altLang="zh-CN" sz="1400" dirty="0">
              <a:latin typeface="Arial" panose="020B0604020202020204" pitchFamily="34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</a:p>
          <a:p>
            <a:pPr algn="ctr" eaLnBrk="0" hangingPunct="0"/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 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-15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Life expectancy at age 65 according to AWG 2018</a:t>
            </a: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D0FF3361-9BBE-4194-BA37-C67DBE3DBA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9530" y="1340768"/>
            <a:ext cx="7426041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367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The uncertainty of employment rate trends </a:t>
            </a:r>
            <a:endParaRPr lang="it-IT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2640" y="1122894"/>
            <a:ext cx="6912768" cy="49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453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Labour force according to AWG 2018</a:t>
            </a:r>
            <a:endParaRPr lang="it-IT" dirty="0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9FCCA0A0-05B9-4FE5-8C2F-5CE415B50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372" y="1124744"/>
            <a:ext cx="7906860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497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Effective retirement age according to AWG 2018</a:t>
            </a:r>
            <a:endParaRPr lang="it-IT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3C983887-FC71-4BD2-A2B8-3DC50EC7D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520" y="1078150"/>
            <a:ext cx="8731781" cy="5231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466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Projected dependency ratios according to AWG 2018 </a:t>
            </a:r>
            <a:endParaRPr lang="it-IT" dirty="0"/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EB4811B2-ED8C-4A0E-8C7F-675933842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2270" y="1268760"/>
            <a:ext cx="7681559" cy="460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967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Assumptions on productivity growth </a:t>
            </a:r>
            <a:endParaRPr lang="it-IT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112" y="1268760"/>
            <a:ext cx="8613775" cy="460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5861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The uncertainty of GDP growth </a:t>
            </a:r>
            <a:endParaRPr lang="it-IT" dirty="0"/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6617" y="1060261"/>
            <a:ext cx="7238960" cy="4961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846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Determinants of pension spending change 2016-2070</a:t>
            </a: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FF2EB517-C3E0-4888-891B-2521EEAD9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9372" y="1124744"/>
            <a:ext cx="8146462" cy="489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844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823656"/>
            <a:ext cx="9206259" cy="8125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9-2011 reforms established the automatic link between changes in life expectancy at birth and eligibility requirements for pension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io 1:1 in retirement age increase WRT life expectancy increas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omatic increase in both earnings related and NDC scheme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mited flexibility in retirement age in the NDC inconsistent with the NDC logic: 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 allowed 3 years before the standard age for those with a pension amounting at least 2.8*social assistance benefit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tirement allowed 4 years after the standard age for those with a pension lower than 1.5*social assistance benefit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geing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nd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ule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in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taly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780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0625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xpected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quirement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for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old-age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in 2011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F372AA3C-08E2-4793-80BB-977472E7A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0356" y="1412776"/>
            <a:ext cx="6290908" cy="396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066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7951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preliminary issue: demographic risks in PAYG vs funded schemes =&gt; how to deal with the «disappearance» of the young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mographic projections in Italy and their effects on pension spending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ian pension reforms to cope with an ageing population: automatic increase in retirement ages and exceptions for heavy worker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there heterogeneities in older workers employability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 adequacy and increase in retirement ag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175889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0625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xpected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quirement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for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early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tirement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in 2011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C5B4564F-85BB-4279-AC55-CBEFD4170B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4648" y="1434364"/>
            <a:ext cx="6599756" cy="415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3577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28464" y="908720"/>
            <a:ext cx="9649071" cy="75713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pdate in retirement ages in 2019: 67 years or 43 contribution years and 3 months (42+3 for females) for early retireme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vanced pension with a bank loan “Voluntary APE” (trial until 2018) since age 63 (costly for workers) or “firm APE” (costs paid by the firm)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APE for some categories: disabled, long-term unemployed, and those with 6 out of 7 final years worked in 15 types of “heavy jobs” and 36 years of total contribution =&gt; how are these jobs defined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terogeneity in workability and life expectancy according to the type of job =&gt; an expert Commission established by the Budget Law for 2018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life expectancy homogenous? Implications for the NDC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cent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Italia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forms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bout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retirement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ges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6798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7"/>
          <p:cNvSpPr>
            <a:spLocks noGrp="1"/>
          </p:cNvSpPr>
          <p:nvPr>
            <p:ph type="title"/>
          </p:nvPr>
        </p:nvSpPr>
        <p:spPr>
          <a:xfrm>
            <a:off x="344488" y="15615"/>
            <a:ext cx="9289032" cy="922114"/>
          </a:xfrm>
        </p:spPr>
        <p:txBody>
          <a:bodyPr>
            <a:normAutofit/>
          </a:bodyPr>
          <a:lstStyle/>
          <a:p>
            <a:pPr marL="342900" indent="-342900" algn="just" fontAlgn="base">
              <a:lnSpc>
                <a:spcPct val="150000"/>
              </a:lnSpc>
              <a:spcAft>
                <a:spcPct val="0"/>
              </a:spcAft>
              <a:buClr>
                <a:schemeClr val="tx2"/>
              </a:buClr>
              <a:buSzPct val="103000"/>
            </a:pP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Heterogeneit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in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loyabilit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open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questions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</a:endParaRPr>
          </a:p>
        </p:txBody>
      </p:sp>
      <p:sp>
        <p:nvSpPr>
          <p:cNvPr id="9" name="Segnaposto contenuto 8"/>
          <p:cNvSpPr>
            <a:spLocks noGrp="1"/>
          </p:cNvSpPr>
          <p:nvPr>
            <p:ph idx="1"/>
          </p:nvPr>
        </p:nvSpPr>
        <p:spPr>
          <a:xfrm>
            <a:off x="344488" y="1124745"/>
            <a:ext cx="8894792" cy="5256584"/>
          </a:xfrm>
        </p:spPr>
        <p:txBody>
          <a:bodyPr/>
          <a:lstStyle/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Is retirement postponement a free choice of the worker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Are older workers homogenous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Is the productive system able to provide labour supply for an ageing workforce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Could the increase in retirement age determine a reduction of potential output trough a lower productivity?</a:t>
            </a: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pid increase of eligibility requirements puts stress on LMPs and welfare system.</a:t>
            </a:r>
          </a:p>
          <a:p>
            <a:pPr marL="0" indent="0" algn="just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None/>
            </a:pP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</a:endParaRPr>
          </a:p>
          <a:p>
            <a:endParaRPr lang="en-GB" sz="2600" dirty="0"/>
          </a:p>
          <a:p>
            <a:endParaRPr lang="it-IT" sz="2700" dirty="0"/>
          </a:p>
        </p:txBody>
      </p:sp>
      <p:sp>
        <p:nvSpPr>
          <p:cNvPr id="11" name="Segnaposto numero diapositiva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A3607FD-2CE1-4807-A442-1F4B7B7F557C}" type="slidenum">
              <a:rPr lang="it-IT" smtClean="0"/>
              <a:pPr>
                <a:defRPr/>
              </a:pPr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3160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2909EC-DD7B-4642-8964-A8E5543FD12F}" type="slidenum">
              <a:rPr lang="it-IT"/>
              <a:pPr>
                <a:defRPr/>
              </a:pPr>
              <a:t>23</a:t>
            </a:fld>
            <a:endParaRPr lang="it-IT"/>
          </a:p>
        </p:txBody>
      </p:sp>
      <p:sp>
        <p:nvSpPr>
          <p:cNvPr id="29698" name="Rectangle 2"/>
          <p:cNvSpPr>
            <a:spLocks noGrp="1"/>
          </p:cNvSpPr>
          <p:nvPr>
            <p:ph type="title"/>
          </p:nvPr>
        </p:nvSpPr>
        <p:spPr>
          <a:xfrm>
            <a:off x="416496" y="274638"/>
            <a:ext cx="8651304" cy="633412"/>
          </a:xfrm>
        </p:spPr>
        <p:txBody>
          <a:bodyPr>
            <a:noAutofit/>
          </a:bodyPr>
          <a:lstStyle/>
          <a:p>
            <a:pPr marL="342900" indent="-342900" algn="just" fontAlgn="base">
              <a:lnSpc>
                <a:spcPct val="150000"/>
              </a:lnSpc>
              <a:spcAft>
                <a:spcPct val="0"/>
              </a:spcAft>
              <a:buClr>
                <a:schemeClr val="tx2"/>
              </a:buClr>
              <a:buSzPct val="103000"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Implicit assumptions behind the 2011 reform</a:t>
            </a:r>
          </a:p>
        </p:txBody>
      </p:sp>
      <p:sp>
        <p:nvSpPr>
          <p:cNvPr id="29699" name="Rectangle 3"/>
          <p:cNvSpPr>
            <a:spLocks noGrp="1"/>
          </p:cNvSpPr>
          <p:nvPr>
            <p:ph type="body" idx="1"/>
          </p:nvPr>
        </p:nvSpPr>
        <p:spPr>
          <a:xfrm>
            <a:off x="200472" y="1196752"/>
            <a:ext cx="9433048" cy="5256437"/>
          </a:xfrm>
        </p:spPr>
        <p:txBody>
          <a:bodyPr>
            <a:normAutofit fontScale="47500" lnSpcReduction="20000"/>
          </a:bodyPr>
          <a:lstStyle/>
          <a:p>
            <a:pPr algn="just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4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Low employment rates of older workers in Italy were considered due only to loose eligibility requirements =&gt; belief in a sort of “Say law” of older workers supply.</a:t>
            </a:r>
          </a:p>
          <a:p>
            <a:pPr algn="just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4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Limited attention to the interplay of individual characteristics affecting both labour demand and supply, i.e. skills, health status, family needs. </a:t>
            </a:r>
          </a:p>
          <a:p>
            <a:pPr algn="just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4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However, clear evidence that retirement age and employment chances strongly depend on individual characteristics, mostly favouring the well-off workers =&gt; are older individuals’ employment rates by their characteristics (e.g. education)?</a:t>
            </a:r>
          </a:p>
          <a:p>
            <a:pPr algn="just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4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Clear merits of introducing tools as the APE</a:t>
            </a:r>
          </a:p>
          <a:p>
            <a:pPr algn="just" fontAlgn="base">
              <a:lnSpc>
                <a:spcPct val="17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4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From risks to become a poor pensioner to the risk to become an old unemployed?</a:t>
            </a:r>
          </a:p>
          <a:p>
            <a:endParaRPr lang="en-GB" sz="2700" dirty="0"/>
          </a:p>
        </p:txBody>
      </p:sp>
    </p:spTree>
    <p:extLst>
      <p:ext uri="{BB962C8B-B14F-4D97-AF65-F5344CB8AC3E}">
        <p14:creationId xmlns:p14="http://schemas.microsoft.com/office/powerpoint/2010/main" val="2014428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88504" y="274639"/>
            <a:ext cx="8579296" cy="550985"/>
          </a:xfrm>
        </p:spPr>
        <p:txBody>
          <a:bodyPr>
            <a:noAutofit/>
          </a:bodyPr>
          <a:lstStyle/>
          <a:p>
            <a:pPr marL="342900" indent="-342900" algn="just" fontAlgn="base">
              <a:lnSpc>
                <a:spcPct val="150000"/>
              </a:lnSpc>
              <a:spcAft>
                <a:spcPct val="0"/>
              </a:spcAft>
              <a:buClr>
                <a:schemeClr val="tx2"/>
              </a:buClr>
              <a:buSzPct val="103000"/>
            </a:pP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All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educational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oups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</a:endParaRPr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13568" y="960258"/>
            <a:ext cx="8154232" cy="5165907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350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88504" y="274638"/>
            <a:ext cx="8579296" cy="542108"/>
          </a:xfrm>
        </p:spPr>
        <p:txBody>
          <a:bodyPr>
            <a:noAutofit/>
          </a:bodyPr>
          <a:lstStyle/>
          <a:p>
            <a:pPr marL="342900" indent="-342900" algn="just" fontAlgn="base">
              <a:lnSpc>
                <a:spcPct val="150000"/>
              </a:lnSpc>
              <a:spcAft>
                <a:spcPct val="0"/>
              </a:spcAft>
              <a:buClr>
                <a:schemeClr val="tx2"/>
              </a:buClr>
              <a:buSzPct val="103000"/>
            </a:pP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At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most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lower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secondar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aduates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</a:endParaRPr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76690" y="1060990"/>
            <a:ext cx="7755852" cy="5065174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8882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488" y="399237"/>
            <a:ext cx="8507288" cy="332600"/>
          </a:xfrm>
        </p:spPr>
        <p:txBody>
          <a:bodyPr>
            <a:noAutofit/>
          </a:bodyPr>
          <a:lstStyle/>
          <a:p>
            <a:pPr marL="342900" indent="-342900" algn="just" fontAlgn="base">
              <a:lnSpc>
                <a:spcPct val="150000"/>
              </a:lnSpc>
              <a:spcAft>
                <a:spcPct val="0"/>
              </a:spcAft>
              <a:buClr>
                <a:schemeClr val="tx2"/>
              </a:buClr>
              <a:buSzPct val="103000"/>
            </a:pP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upper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secondar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aduates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ea typeface="Verdana" pitchFamily="34" charset="0"/>
            </a:endParaRPr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9663" y="1012054"/>
            <a:ext cx="8247166" cy="5114110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2429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2520" y="274639"/>
            <a:ext cx="8435280" cy="488842"/>
          </a:xfrm>
        </p:spPr>
        <p:txBody>
          <a:bodyPr>
            <a:normAutofit/>
          </a:bodyPr>
          <a:lstStyle/>
          <a:p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tertiar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aduates</a:t>
            </a:r>
            <a:endParaRPr lang="it-IT" sz="2400" dirty="0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1036" y="949912"/>
            <a:ext cx="8617125" cy="5176253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0456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72480" y="274638"/>
            <a:ext cx="8795320" cy="533230"/>
          </a:xfrm>
        </p:spPr>
        <p:txBody>
          <a:bodyPr>
            <a:normAutofit/>
          </a:bodyPr>
          <a:lstStyle/>
          <a:p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all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educational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oup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-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Males</a:t>
            </a:r>
            <a:endParaRPr lang="it-IT" sz="2400" dirty="0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54348" y="1038688"/>
            <a:ext cx="8113452" cy="5087477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963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16496" y="180851"/>
            <a:ext cx="8373616" cy="550985"/>
          </a:xfrm>
        </p:spPr>
        <p:txBody>
          <a:bodyPr>
            <a:normAutofit/>
          </a:bodyPr>
          <a:lstStyle/>
          <a:p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lderl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emp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.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r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tertiary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graduate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 -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</a:rPr>
              <a:t>Males</a:t>
            </a:r>
            <a:endParaRPr lang="it-IT" sz="2400" dirty="0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4184" y="1040518"/>
            <a:ext cx="8373616" cy="5085646"/>
          </a:xfrm>
          <a:prstGeom prst="rect">
            <a:avLst/>
          </a:prstGeom>
        </p:spPr>
      </p:pic>
      <p:sp>
        <p:nvSpPr>
          <p:cNvPr id="3" name="Segnaposto numero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EAFF1E-63C9-4DD5-BDC2-D6D392199B40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089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1866" y="1196752"/>
            <a:ext cx="9289156" cy="55168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zh-CN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G has an explicit intergenerational link. In financial equilibrium: </a:t>
            </a:r>
          </a:p>
          <a:p>
            <a:pPr algn="just" eaLnBrk="1" hangingPunct="1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GB" altLang="zh-CN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		</a:t>
            </a:r>
            <a:r>
              <a:rPr lang="en-GB" altLang="zh-CN" sz="25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wL</a:t>
            </a:r>
            <a:r>
              <a:rPr lang="en-GB" altLang="zh-CN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=</a:t>
            </a:r>
            <a:r>
              <a:rPr lang="en-GB" altLang="zh-CN" sz="25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N</a:t>
            </a:r>
            <a:r>
              <a:rPr lang="en-GB" altLang="zh-CN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GB" altLang="zh-CN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 t=p/w*N/L</a:t>
            </a:r>
          </a:p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Are N and L purely exogenous variables? Role of pension, labour market and immigration policies (and demographic policies in the very long run)</a:t>
            </a:r>
          </a:p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Does the financial equilibrium only depend on the number of producers?</a:t>
            </a: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Demographic risks in public pensions (a)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68467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arnings related benefits independent on retirement age, but on (mostly) final wages and years of contribution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P</a:t>
            </a:r>
            <a:r>
              <a:rPr lang="en-GB" sz="2400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R</a:t>
            </a: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=c*CY*W</a:t>
            </a:r>
            <a:r>
              <a:rPr lang="en-GB" sz="2400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-1</a:t>
            </a: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C pensions – being actuarial based – strictly related to retirement age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GB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P</a:t>
            </a:r>
            <a:r>
              <a:rPr lang="en-GB" altLang="zh-CN" sz="2400" baseline="-25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</a:t>
            </a:r>
            <a:r>
              <a:rPr lang="en-GB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=M*CT 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GB" altLang="zh-CN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	where M=f(W, t, g) over the whole career</a:t>
            </a:r>
            <a:endParaRPr lang="en-GB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geing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nd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dequacy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(a)</a:t>
            </a:r>
          </a:p>
        </p:txBody>
      </p:sp>
    </p:spTree>
    <p:extLst>
      <p:ext uri="{BB962C8B-B14F-4D97-AF65-F5344CB8AC3E}">
        <p14:creationId xmlns:p14="http://schemas.microsoft.com/office/powerpoint/2010/main" val="23850436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908720"/>
            <a:ext cx="9206259" cy="75713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ability crucial to assess if the increase in retirement age enough to guarantee pension adequacy, especially in NDC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C formula acts as a sort of mirror of labour market outcomes =&gt; individuals disadvantaged in the labour market will be disadvantaged also during retirement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 increase in retirement age – if coupled with an increase in employability – has two positive effects on NDC pensions: trough contributions and transformation coefficients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rom risks of being a poor pensioner to risks of being an old unemployed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opulatio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geing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and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pension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adequacy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ea typeface="Verdana" pitchFamily="34" charset="0"/>
                <a:cs typeface="Verdana" pitchFamily="34" charset="0"/>
              </a:rPr>
              <a:t> (b)</a:t>
            </a:r>
          </a:p>
        </p:txBody>
      </p:sp>
    </p:spTree>
    <p:extLst>
      <p:ext uri="{BB962C8B-B14F-4D97-AF65-F5344CB8AC3E}">
        <p14:creationId xmlns:p14="http://schemas.microsoft.com/office/powerpoint/2010/main" val="17535961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xpected</a:t>
            </a:r>
            <a:r>
              <a:rPr lang="it-IT" dirty="0"/>
              <a:t> </a:t>
            </a:r>
            <a:r>
              <a:rPr lang="it-IT" dirty="0" err="1"/>
              <a:t>pensions</a:t>
            </a:r>
            <a:r>
              <a:rPr lang="it-IT" dirty="0"/>
              <a:t>: </a:t>
            </a:r>
            <a:r>
              <a:rPr lang="it-IT" dirty="0" err="1"/>
              <a:t>continuous</a:t>
            </a:r>
            <a:r>
              <a:rPr lang="it-IT" dirty="0"/>
              <a:t> </a:t>
            </a:r>
            <a:r>
              <a:rPr lang="it-IT" dirty="0" err="1"/>
              <a:t>careers</a:t>
            </a:r>
            <a:endParaRPr lang="it-IT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1153" y="2060848"/>
            <a:ext cx="9335907" cy="3672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xpected</a:t>
            </a:r>
            <a:r>
              <a:rPr lang="it-IT" dirty="0"/>
              <a:t> </a:t>
            </a:r>
            <a:r>
              <a:rPr lang="it-IT" dirty="0" err="1"/>
              <a:t>pensions</a:t>
            </a:r>
            <a:r>
              <a:rPr lang="it-IT" dirty="0"/>
              <a:t>: </a:t>
            </a:r>
            <a:r>
              <a:rPr lang="it-IT" dirty="0" err="1"/>
              <a:t>fragmented</a:t>
            </a:r>
            <a:r>
              <a:rPr lang="it-IT" dirty="0"/>
              <a:t> </a:t>
            </a:r>
            <a:r>
              <a:rPr lang="it-IT" dirty="0" err="1"/>
              <a:t>careers</a:t>
            </a:r>
            <a:endParaRPr lang="it-IT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870" y="1916832"/>
            <a:ext cx="8666492" cy="3960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Expected</a:t>
            </a:r>
            <a:r>
              <a:rPr lang="it-IT" dirty="0"/>
              <a:t> </a:t>
            </a:r>
            <a:r>
              <a:rPr lang="it-IT" dirty="0" err="1"/>
              <a:t>pensions</a:t>
            </a:r>
            <a:r>
              <a:rPr lang="it-IT" dirty="0"/>
              <a:t>: parasubordinate </a:t>
            </a:r>
            <a:r>
              <a:rPr lang="it-IT" dirty="0" err="1"/>
              <a:t>until</a:t>
            </a:r>
            <a:r>
              <a:rPr lang="it-IT" dirty="0"/>
              <a:t> 2017</a:t>
            </a: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4404" y="1484785"/>
            <a:ext cx="8983092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72481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DP growth is the crucial variable to be assessed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terogeneity in life expectancy and in older-workers employability =&gt; towards forms of flexibility in retirement age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es the increase in retirement age differently affect health of individuals performing different types of jobs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ortance of the expert Commission to analyse jobs heaviness and life expectancy gaps </a:t>
            </a:r>
            <a:r>
              <a:rPr lang="en-GB" sz="250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 individuals</a:t>
            </a:r>
            <a:endParaRPr lang="en-GB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</a:rPr>
              <a:t>No risks of pension inadequacy for standard workers, risks related to fragility of the working career, at both young and old age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Conclusions and open question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12277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01866" y="1196752"/>
            <a:ext cx="9289156" cy="70865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Are funded scheme neutral with respect to population ageing?</a:t>
            </a:r>
          </a:p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What is the role of financial markets? What are the drivers of stocks and bonds prices?</a:t>
            </a:r>
          </a:p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Trade off between risks and diversification in international financial markets.</a:t>
            </a:r>
          </a:p>
          <a:p>
            <a:pPr marL="342900" indent="-342900" algn="just" eaLnBrk="1" hangingPunct="1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altLang="it-IT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  <a:sym typeface="Symbol" panose="05050102010706020507" pitchFamily="18" charset="2"/>
              </a:rPr>
              <a:t>The crucial dimensions is always the total production (in a country or worldwide)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Demographic risks in public pensions (b)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523554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76636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general issue related to demographic risks: What would happen in a world without young (i.e. the last generation abstraction)? Or without jobs? Or in a permanent stagnation context?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 these scenarios do not affect total product, but the number of producers only: distributive issue, unrelated with the impossibility of a pension scheme =&gt; Issues related to computation method rather than to financing methods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permanent stagnation limits for both PAYG and funded scheme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What would happen in a “world without young”?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263449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8240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chanical exercises (no general equilibrium models) on current pension rules based on several assumptions on: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mographic trends: fertility, mortality, migration rates and migrants’ composition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 rates by age and gender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ductivity growth</a:t>
            </a:r>
          </a:p>
          <a:p>
            <a:pPr marL="800100" lvl="1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=&gt; GDP growth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5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.B. Projections not forecasts! The baseline scenario is the central scenario, not the most likely scenario.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727293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Determinants of projected pension spending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535805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Projections of gross public pension spending in Italy</a:t>
            </a:r>
            <a:endParaRPr lang="it-IT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227" y="1268761"/>
            <a:ext cx="8913559" cy="4537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797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The uncertainty of demographic projections</a:t>
            </a:r>
            <a:endParaRPr lang="it-IT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583" y="1197447"/>
            <a:ext cx="8178865" cy="496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7213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5" y="980728"/>
            <a:ext cx="9289156" cy="2469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/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5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260648"/>
            <a:ext cx="6912956" cy="56300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Life expectancy at birth according to AWG 2018</a:t>
            </a:r>
            <a:endParaRPr lang="it-IT" dirty="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B5202069-E595-46A6-9A9D-FAA77A10B0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756" y="1268760"/>
            <a:ext cx="7426040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83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228</TotalTime>
  <Words>1170</Words>
  <Application>Microsoft Office PowerPoint</Application>
  <PresentationFormat>A4 (21x29,7 cm)</PresentationFormat>
  <Paragraphs>226</Paragraphs>
  <Slides>35</Slides>
  <Notes>7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5</vt:i4>
      </vt:variant>
      <vt:variant>
        <vt:lpstr>Presentazioni personalizzate</vt:lpstr>
      </vt:variant>
      <vt:variant>
        <vt:i4>1</vt:i4>
      </vt:variant>
    </vt:vector>
  </HeadingPairs>
  <TitlesOfParts>
    <vt:vector size="46" baseType="lpstr">
      <vt:lpstr>宋体</vt:lpstr>
      <vt:lpstr>Arial</vt:lpstr>
      <vt:lpstr>Arial Unicode MS</vt:lpstr>
      <vt:lpstr>Calibri</vt:lpstr>
      <vt:lpstr>Optane</vt:lpstr>
      <vt:lpstr>Symbol</vt:lpstr>
      <vt:lpstr>Verdana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Heterogeneity in elderly employability: open questions</vt:lpstr>
      <vt:lpstr>Implicit assumptions behind the 2011 reform</vt:lpstr>
      <vt:lpstr>Elderly emp. rates: All educational groups</vt:lpstr>
      <vt:lpstr>Elderly emp. rates: At most lower secondary graduates</vt:lpstr>
      <vt:lpstr>Elderly emp. rates: upper secondary graduates</vt:lpstr>
      <vt:lpstr>Elderly emp. rates: tertiary graduates</vt:lpstr>
      <vt:lpstr>Elderly emp. rates: all educational groups - Males</vt:lpstr>
      <vt:lpstr>Elderly emp. rates: tertiary graduates - Males</vt:lpstr>
      <vt:lpstr>Presentazione standard di PowerPoint</vt:lpstr>
      <vt:lpstr>Presentazione standard di PowerPoint</vt:lpstr>
      <vt:lpstr>Expected pensions: continuous careers</vt:lpstr>
      <vt:lpstr>Expected pensions: fragmented careers</vt:lpstr>
      <vt:lpstr>Expected pensions: parasubordinate until 2017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ichele raitano</cp:lastModifiedBy>
  <cp:revision>89</cp:revision>
  <cp:lastPrinted>2015-01-26T19:32:44Z</cp:lastPrinted>
  <dcterms:created xsi:type="dcterms:W3CDTF">2015-09-07T02:11:56Z</dcterms:created>
  <dcterms:modified xsi:type="dcterms:W3CDTF">2018-06-29T08:08:29Z</dcterms:modified>
</cp:coreProperties>
</file>